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50" d="100"/>
          <a:sy n="150" d="100"/>
        </p:scale>
        <p:origin x="1200" y="120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PAR-ES)" userId="79615dfe-ed48-4e74-a40f-4f7b034c1c27" providerId="ADAL" clId="{075BCFC8-B02B-4DC4-A4AE-CC9F64D1F990}"/>
    <pc:docChg chg="custSel addSld delSld modSld">
      <pc:chgData name="Meyer Raphael (PAR-ES)" userId="79615dfe-ed48-4e74-a40f-4f7b034c1c27" providerId="ADAL" clId="{075BCFC8-B02B-4DC4-A4AE-CC9F64D1F990}" dt="2022-03-09T15:42:32.028" v="46" actId="27918"/>
      <pc:docMkLst>
        <pc:docMk/>
      </pc:docMkLst>
      <pc:sldChg chg="del">
        <pc:chgData name="Meyer Raphael (PAR-ES)" userId="79615dfe-ed48-4e74-a40f-4f7b034c1c27" providerId="ADAL" clId="{075BCFC8-B02B-4DC4-A4AE-CC9F64D1F990}" dt="2022-03-09T15:36:05.484" v="0" actId="47"/>
        <pc:sldMkLst>
          <pc:docMk/>
          <pc:sldMk cId="3064315074" sldId="413"/>
        </pc:sldMkLst>
      </pc:sldChg>
      <pc:sldChg chg="modSp">
        <pc:chgData name="Meyer Raphael (PAR-ES)" userId="79615dfe-ed48-4e74-a40f-4f7b034c1c27" providerId="ADAL" clId="{075BCFC8-B02B-4DC4-A4AE-CC9F64D1F990}" dt="2022-03-09T15:40:36.470" v="29"/>
        <pc:sldMkLst>
          <pc:docMk/>
          <pc:sldMk cId="1774855510" sldId="414"/>
        </pc:sldMkLst>
        <pc:graphicFrameChg chg="mod">
          <ac:chgData name="Meyer Raphael (PAR-ES)" userId="79615dfe-ed48-4e74-a40f-4f7b034c1c27" providerId="ADAL" clId="{075BCFC8-B02B-4DC4-A4AE-CC9F64D1F990}" dt="2022-03-09T15:40:36.470" v="29"/>
          <ac:graphicFrameMkLst>
            <pc:docMk/>
            <pc:sldMk cId="1774855510" sldId="414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23.320" v="28"/>
        <pc:sldMkLst>
          <pc:docMk/>
          <pc:sldMk cId="2844382326" sldId="415"/>
        </pc:sldMkLst>
        <pc:spChg chg="mod">
          <ac:chgData name="Meyer Raphael (PAR-ES)" userId="79615dfe-ed48-4e74-a40f-4f7b034c1c27" providerId="ADAL" clId="{075BCFC8-B02B-4DC4-A4AE-CC9F64D1F990}" dt="2022-03-09T15:37:11.935" v="4"/>
          <ac:spMkLst>
            <pc:docMk/>
            <pc:sldMk cId="2844382326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7:23.197" v="6" actId="20577"/>
          <ac:spMkLst>
            <pc:docMk/>
            <pc:sldMk cId="2844382326" sldId="415"/>
            <ac:spMk id="6" creationId="{1F31F2D2-504B-4B14-95D4-0B8BCA2C6299}"/>
          </ac:spMkLst>
        </pc:spChg>
        <pc:graphicFrameChg chg="mod">
          <ac:chgData name="Meyer Raphael (PAR-ES)" userId="79615dfe-ed48-4e74-a40f-4f7b034c1c27" providerId="ADAL" clId="{075BCFC8-B02B-4DC4-A4AE-CC9F64D1F990}" dt="2022-03-09T15:40:23.320" v="28"/>
          <ac:graphicFrameMkLst>
            <pc:docMk/>
            <pc:sldMk cId="2844382326" sldId="415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0:13.240" v="26"/>
        <pc:sldMkLst>
          <pc:docMk/>
          <pc:sldMk cId="2251798312" sldId="416"/>
        </pc:sldMkLst>
        <pc:spChg chg="mod">
          <ac:chgData name="Meyer Raphael (PAR-ES)" userId="79615dfe-ed48-4e74-a40f-4f7b034c1c27" providerId="ADAL" clId="{075BCFC8-B02B-4DC4-A4AE-CC9F64D1F990}" dt="2022-03-09T15:39:03.475" v="12"/>
          <ac:spMkLst>
            <pc:docMk/>
            <pc:sldMk cId="225179831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39:15.755" v="14" actId="20577"/>
          <ac:spMkLst>
            <pc:docMk/>
            <pc:sldMk cId="2251798312" sldId="416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39:29.391" v="20" actId="20577"/>
          <ac:spMkLst>
            <pc:docMk/>
            <pc:sldMk cId="2251798312" sldId="416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13.240" v="26"/>
          <ac:graphicFrameMkLst>
            <pc:docMk/>
            <pc:sldMk cId="2251798312" sldId="416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75BCFC8-B02B-4DC4-A4AE-CC9F64D1F990}" dt="2022-03-09T15:42:32.028" v="46" actId="27918"/>
        <pc:sldMkLst>
          <pc:docMk/>
          <pc:sldMk cId="1913231849" sldId="417"/>
        </pc:sldMkLst>
        <pc:spChg chg="mod">
          <ac:chgData name="Meyer Raphael (PAR-ES)" userId="79615dfe-ed48-4e74-a40f-4f7b034c1c27" providerId="ADAL" clId="{075BCFC8-B02B-4DC4-A4AE-CC9F64D1F990}" dt="2022-03-09T15:41:32.284" v="31"/>
          <ac:spMkLst>
            <pc:docMk/>
            <pc:sldMk cId="1913231849" sldId="41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75BCFC8-B02B-4DC4-A4AE-CC9F64D1F990}" dt="2022-03-09T15:41:53.137" v="33" actId="20577"/>
          <ac:spMkLst>
            <pc:docMk/>
            <pc:sldMk cId="1913231849" sldId="417"/>
            <ac:spMk id="6" creationId="{1F31F2D2-504B-4B14-95D4-0B8BCA2C6299}"/>
          </ac:spMkLst>
        </pc:spChg>
        <pc:spChg chg="mod">
          <ac:chgData name="Meyer Raphael (PAR-ES)" userId="79615dfe-ed48-4e74-a40f-4f7b034c1c27" providerId="ADAL" clId="{075BCFC8-B02B-4DC4-A4AE-CC9F64D1F990}" dt="2022-03-09T15:41:58.782" v="41" actId="20577"/>
          <ac:spMkLst>
            <pc:docMk/>
            <pc:sldMk cId="1913231849" sldId="417"/>
            <ac:spMk id="7" creationId="{997E4419-A7A8-4264-97B0-3A44B665821E}"/>
          </ac:spMkLst>
        </pc:spChg>
        <pc:graphicFrameChg chg="mod">
          <ac:chgData name="Meyer Raphael (PAR-ES)" userId="79615dfe-ed48-4e74-a40f-4f7b034c1c27" providerId="ADAL" clId="{075BCFC8-B02B-4DC4-A4AE-CC9F64D1F990}" dt="2022-03-09T15:40:46.551" v="30"/>
          <ac:graphicFrameMkLst>
            <pc:docMk/>
            <pc:sldMk cId="1913231849" sldId="417"/>
            <ac:graphicFrameMk id="9" creationId="{00000000-0000-0000-0000-000000000000}"/>
          </ac:graphicFrameMkLst>
        </pc:graphicFrame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949BB64-F7B7-48C9-A73E-EC3D698510C6}"/>
    <pc:docChg chg="modSld">
      <pc:chgData name="Weigel Stefan (PAR-EPS)" userId="fd3b2067-2981-4ad8-bf3a-d2e1004e4fa8" providerId="ADAL" clId="{5949BB64-F7B7-48C9-A73E-EC3D698510C6}" dt="2024-02-02T10:55:53.363" v="67" actId="27918"/>
      <pc:docMkLst>
        <pc:docMk/>
      </pc:docMkLst>
      <pc:sldChg chg="mod">
        <pc:chgData name="Weigel Stefan (PAR-EPS)" userId="fd3b2067-2981-4ad8-bf3a-d2e1004e4fa8" providerId="ADAL" clId="{5949BB64-F7B7-48C9-A73E-EC3D698510C6}" dt="2024-02-02T10:55:53.363" v="67" actId="27918"/>
        <pc:sldMkLst>
          <pc:docMk/>
          <pc:sldMk cId="1774855510" sldId="414"/>
        </pc:sldMkLst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8AF8AF8-3015-4A40-885D-1810E82E92DA}"/>
    <pc:docChg chg="delSld">
      <pc:chgData name="Meyer Raphael (PAR-ES)" userId="79615dfe-ed48-4e74-a40f-4f7b034c1c27" providerId="ADAL" clId="{38AF8AF8-3015-4A40-885D-1810E82E92DA}" dt="2022-03-09T15:47:26.635" v="0" actId="47"/>
      <pc:docMkLst>
        <pc:docMk/>
      </pc:docMkLst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844382326" sldId="415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2251798312" sldId="416"/>
        </pc:sldMkLst>
      </pc:sldChg>
      <pc:sldChg chg="del">
        <pc:chgData name="Meyer Raphael (PAR-ES)" userId="79615dfe-ed48-4e74-a40f-4f7b034c1c27" providerId="ADAL" clId="{38AF8AF8-3015-4A40-885D-1810E82E92DA}" dt="2022-03-09T15:47:26.635" v="0" actId="47"/>
        <pc:sldMkLst>
          <pc:docMk/>
          <pc:sldMk cId="1913231849" sldId="417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C61557F-30AA-42DD-8CC5-77D7B0938EAA}"/>
    <pc:docChg chg="modSld">
      <pc:chgData name="Meyer Raphael (PAR-ES)" userId="79615dfe-ed48-4e74-a40f-4f7b034c1c27" providerId="ADAL" clId="{FC61557F-30AA-42DD-8CC5-77D7B0938EAA}" dt="2023-02-24T13:47:08.745" v="3" actId="27918"/>
      <pc:docMkLst>
        <pc:docMk/>
      </pc:docMkLst>
      <pc:sldChg chg="mod">
        <pc:chgData name="Meyer Raphael (PAR-ES)" userId="79615dfe-ed48-4e74-a40f-4f7b034c1c27" providerId="ADAL" clId="{FC61557F-30AA-42DD-8CC5-77D7B0938EAA}" dt="2023-02-24T13:47:08.745" v="3" actId="27918"/>
        <pc:sldMkLst>
          <pc:docMk/>
          <pc:sldMk cId="1774855510" sldId="414"/>
        </pc:sldMkLst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11994653139294"/>
          <c:y val="9.0418972003334305E-2"/>
          <c:w val="0.80208017766789419"/>
          <c:h val="0.654677984583425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eneralabonnemente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.000</c:formatCode>
                <c:ptCount val="11"/>
                <c:pt idx="0">
                  <c:v>0.44189200000000001</c:v>
                </c:pt>
                <c:pt idx="1">
                  <c:v>0.45277399999999995</c:v>
                </c:pt>
                <c:pt idx="2">
                  <c:v>0.46013499999999996</c:v>
                </c:pt>
                <c:pt idx="3">
                  <c:v>0.47218299999999996</c:v>
                </c:pt>
                <c:pt idx="4">
                  <c:v>0.48016999999999999</c:v>
                </c:pt>
                <c:pt idx="5">
                  <c:v>0.490205</c:v>
                </c:pt>
                <c:pt idx="6">
                  <c:v>0.49952999999999997</c:v>
                </c:pt>
                <c:pt idx="7">
                  <c:v>0.43870999999999999</c:v>
                </c:pt>
                <c:pt idx="8">
                  <c:v>0.40637099999999998</c:v>
                </c:pt>
                <c:pt idx="9">
                  <c:v>0.43076799999999998</c:v>
                </c:pt>
                <c:pt idx="10">
                  <c:v>0.447165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9-4358-BCC4-FBFA45F1A298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Halbtaxabonnement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.000</c:formatCode>
                <c:ptCount val="11"/>
                <c:pt idx="0">
                  <c:v>2.3354409999999999</c:v>
                </c:pt>
                <c:pt idx="1">
                  <c:v>2.343696</c:v>
                </c:pt>
                <c:pt idx="2">
                  <c:v>2.3324039999999999</c:v>
                </c:pt>
                <c:pt idx="3">
                  <c:v>2.3949219999999998</c:v>
                </c:pt>
                <c:pt idx="4">
                  <c:v>2.5310319999999997</c:v>
                </c:pt>
                <c:pt idx="5">
                  <c:v>2.597655</c:v>
                </c:pt>
                <c:pt idx="6">
                  <c:v>2.7219449999999998</c:v>
                </c:pt>
                <c:pt idx="7">
                  <c:v>2.720812</c:v>
                </c:pt>
                <c:pt idx="8">
                  <c:v>2.828964</c:v>
                </c:pt>
                <c:pt idx="9">
                  <c:v>2.9686149999999998</c:v>
                </c:pt>
                <c:pt idx="10">
                  <c:v>3.146678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19-4358-BCC4-FBFA45F1A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4979584"/>
        <c:axId val="114981120"/>
      </c:barChart>
      <c:catAx>
        <c:axId val="11497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de-DE"/>
          </a:p>
        </c:txPr>
        <c:crossAx val="114981120"/>
        <c:crosses val="autoZero"/>
        <c:auto val="1"/>
        <c:lblAlgn val="ctr"/>
        <c:lblOffset val="100"/>
        <c:noMultiLvlLbl val="0"/>
      </c:catAx>
      <c:valAx>
        <c:axId val="114981120"/>
        <c:scaling>
          <c:orientation val="minMax"/>
          <c:max val="4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1149795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8.4297094364984851E-2"/>
          <c:y val="0.82582619369142318"/>
          <c:w val="0.44396953028162695"/>
          <c:h val="5.472318412195201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283</cdr:x>
      <cdr:y>0.01177</cdr:y>
    </cdr:from>
    <cdr:to>
      <cdr:x>0.24376</cdr:x>
      <cdr:y>0.06242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79468" y="52635"/>
          <a:ext cx="1956517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solidFill>
                <a:srgbClr val="444444"/>
              </a:solidFill>
              <a:cs typeface="Arial" pitchFamily="34" charset="0"/>
            </a:rPr>
            <a:t>Millionen Abonnemente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ammkundschaf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937571986"/>
              </p:ext>
            </p:extLst>
          </p:nvPr>
        </p:nvGraphicFramePr>
        <p:xfrm>
          <a:off x="827254" y="1835228"/>
          <a:ext cx="10813884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1F31F2D2-504B-4B14-95D4-0B8BCA2C629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Generalabonnemente und Halbtaxabonnemente des Direkten Verkehrs Schweiz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997E4419-A7A8-4264-97B0-3A44B6658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74855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AD1895D9-A5A5-46B0-8D45-8A1F55A24D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tammkundschaf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mmkundschaft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4-02-02T11:54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